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7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C49E5FE-81EB-9E9D-8A61-D817493FBA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9E5FE-81EB-9E9D-8A61-D817493FB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73A67A-1F57-079D-4EEA-B4F61B704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EA4659D-9A66-B003-C78B-3F3283A1788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A480B69-11F2-5603-F609-9057AD1FBE89}"/>
              </a:ext>
            </a:extLst>
          </p:cNvPr>
          <p:cNvGrpSpPr/>
          <p:nvPr/>
        </p:nvGrpSpPr>
        <p:grpSpPr>
          <a:xfrm>
            <a:off x="4178592" y="1846175"/>
            <a:ext cx="3655696" cy="3651800"/>
            <a:chOff x="6633029" y="3238291"/>
            <a:chExt cx="6012393" cy="6005986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DA59B73-B675-F0D1-7683-230438072259}"/>
                </a:ext>
              </a:extLst>
            </p:cNvPr>
            <p:cNvGrpSpPr/>
            <p:nvPr/>
          </p:nvGrpSpPr>
          <p:grpSpPr>
            <a:xfrm>
              <a:off x="6633029" y="3238291"/>
              <a:ext cx="6012393" cy="6005986"/>
              <a:chOff x="6553213" y="3112635"/>
              <a:chExt cx="6343563" cy="6336804"/>
            </a:xfrm>
          </p:grpSpPr>
          <p:sp>
            <p:nvSpPr>
              <p:cNvPr id="16" name="Rectangle 10">
                <a:extLst>
                  <a:ext uri="{FF2B5EF4-FFF2-40B4-BE49-F238E27FC236}">
                    <a16:creationId xmlns:a16="http://schemas.microsoft.com/office/drawing/2014/main" id="{2A50ED49-A330-5728-28A5-549BB4A10C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31756" y="6149161"/>
                <a:ext cx="3382" cy="338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17" name="Freeform 11">
                <a:extLst>
                  <a:ext uri="{FF2B5EF4-FFF2-40B4-BE49-F238E27FC236}">
                    <a16:creationId xmlns:a16="http://schemas.microsoft.com/office/drawing/2014/main" id="{7EC10EF6-4B6A-0B36-6D33-4BEDFD807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14916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18" name="Freeform 14">
                <a:extLst>
                  <a:ext uri="{FF2B5EF4-FFF2-40B4-BE49-F238E27FC236}">
                    <a16:creationId xmlns:a16="http://schemas.microsoft.com/office/drawing/2014/main" id="{4609E862-2582-685D-3A4C-75685DFDC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6423058"/>
                <a:ext cx="2170878" cy="2170878"/>
              </a:xfrm>
              <a:custGeom>
                <a:avLst/>
                <a:gdLst>
                  <a:gd name="T0" fmla="*/ 0 w 642"/>
                  <a:gd name="T1" fmla="*/ 0 h 642"/>
                  <a:gd name="T2" fmla="*/ 0 w 642"/>
                  <a:gd name="T3" fmla="*/ 2 h 642"/>
                  <a:gd name="T4" fmla="*/ 640 w 642"/>
                  <a:gd name="T5" fmla="*/ 641 h 642"/>
                  <a:gd name="T6" fmla="*/ 642 w 642"/>
                  <a:gd name="T7" fmla="*/ 642 h 642"/>
                  <a:gd name="T8" fmla="*/ 0 w 642"/>
                  <a:gd name="T9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2">
                    <a:moveTo>
                      <a:pt x="0" y="0"/>
                    </a:moveTo>
                    <a:lnTo>
                      <a:pt x="0" y="2"/>
                    </a:lnTo>
                    <a:lnTo>
                      <a:pt x="640" y="641"/>
                    </a:lnTo>
                    <a:lnTo>
                      <a:pt x="642" y="6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19" name="Freeform 15">
                <a:extLst>
                  <a:ext uri="{FF2B5EF4-FFF2-40B4-BE49-F238E27FC236}">
                    <a16:creationId xmlns:a16="http://schemas.microsoft.com/office/drawing/2014/main" id="{6B0AF50A-6154-C213-56B5-37228A3FB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6423058"/>
                <a:ext cx="2170878" cy="2170878"/>
              </a:xfrm>
              <a:custGeom>
                <a:avLst/>
                <a:gdLst>
                  <a:gd name="T0" fmla="*/ 0 w 642"/>
                  <a:gd name="T1" fmla="*/ 0 h 642"/>
                  <a:gd name="T2" fmla="*/ 0 w 642"/>
                  <a:gd name="T3" fmla="*/ 2 h 642"/>
                  <a:gd name="T4" fmla="*/ 640 w 642"/>
                  <a:gd name="T5" fmla="*/ 641 h 642"/>
                  <a:gd name="T6" fmla="*/ 642 w 642"/>
                  <a:gd name="T7" fmla="*/ 642 h 642"/>
                  <a:gd name="T8" fmla="*/ 0 w 642"/>
                  <a:gd name="T9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2">
                    <a:moveTo>
                      <a:pt x="0" y="0"/>
                    </a:moveTo>
                    <a:lnTo>
                      <a:pt x="0" y="2"/>
                    </a:lnTo>
                    <a:lnTo>
                      <a:pt x="640" y="641"/>
                    </a:lnTo>
                    <a:lnTo>
                      <a:pt x="642" y="64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0" name="Freeform 17">
                <a:extLst>
                  <a:ext uri="{FF2B5EF4-FFF2-40B4-BE49-F238E27FC236}">
                    <a16:creationId xmlns:a16="http://schemas.microsoft.com/office/drawing/2014/main" id="{0F8705C8-960D-050E-082A-1FCD5EACA9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429821"/>
                <a:ext cx="2164115" cy="2160735"/>
              </a:xfrm>
              <a:custGeom>
                <a:avLst/>
                <a:gdLst>
                  <a:gd name="T0" fmla="*/ 0 w 640"/>
                  <a:gd name="T1" fmla="*/ 0 h 639"/>
                  <a:gd name="T2" fmla="*/ 0 w 640"/>
                  <a:gd name="T3" fmla="*/ 100 h 639"/>
                  <a:gd name="T4" fmla="*/ 640 w 640"/>
                  <a:gd name="T5" fmla="*/ 639 h 639"/>
                  <a:gd name="T6" fmla="*/ 0 w 640"/>
                  <a:gd name="T7" fmla="*/ 0 h 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0" h="639">
                    <a:moveTo>
                      <a:pt x="0" y="0"/>
                    </a:moveTo>
                    <a:lnTo>
                      <a:pt x="0" y="100"/>
                    </a:lnTo>
                    <a:lnTo>
                      <a:pt x="640" y="639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1" name="Freeform 18">
                <a:extLst>
                  <a:ext uri="{FF2B5EF4-FFF2-40B4-BE49-F238E27FC236}">
                    <a16:creationId xmlns:a16="http://schemas.microsoft.com/office/drawing/2014/main" id="{72A9BE40-1150-F42A-C373-A88A35545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7498"/>
              </a:xfrm>
              <a:custGeom>
                <a:avLst/>
                <a:gdLst>
                  <a:gd name="T0" fmla="*/ 641 w 641"/>
                  <a:gd name="T1" fmla="*/ 0 h 641"/>
                  <a:gd name="T2" fmla="*/ 641 w 641"/>
                  <a:gd name="T3" fmla="*/ 0 h 641"/>
                  <a:gd name="T4" fmla="*/ 0 w 641"/>
                  <a:gd name="T5" fmla="*/ 640 h 641"/>
                  <a:gd name="T6" fmla="*/ 0 w 641"/>
                  <a:gd name="T7" fmla="*/ 641 h 641"/>
                  <a:gd name="T8" fmla="*/ 641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641" y="0"/>
                    </a:moveTo>
                    <a:lnTo>
                      <a:pt x="641" y="0"/>
                    </a:lnTo>
                    <a:lnTo>
                      <a:pt x="0" y="640"/>
                    </a:lnTo>
                    <a:lnTo>
                      <a:pt x="0" y="641"/>
                    </a:lnTo>
                    <a:lnTo>
                      <a:pt x="64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2" name="Freeform 19">
                <a:extLst>
                  <a:ext uri="{FF2B5EF4-FFF2-40B4-BE49-F238E27FC236}">
                    <a16:creationId xmlns:a16="http://schemas.microsoft.com/office/drawing/2014/main" id="{D9B9B847-42FE-50F5-D74C-CA5530B63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7498"/>
              </a:xfrm>
              <a:custGeom>
                <a:avLst/>
                <a:gdLst>
                  <a:gd name="T0" fmla="*/ 641 w 641"/>
                  <a:gd name="T1" fmla="*/ 0 h 641"/>
                  <a:gd name="T2" fmla="*/ 641 w 641"/>
                  <a:gd name="T3" fmla="*/ 0 h 641"/>
                  <a:gd name="T4" fmla="*/ 0 w 641"/>
                  <a:gd name="T5" fmla="*/ 640 h 641"/>
                  <a:gd name="T6" fmla="*/ 0 w 641"/>
                  <a:gd name="T7" fmla="*/ 641 h 641"/>
                  <a:gd name="T8" fmla="*/ 641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641" y="0"/>
                    </a:moveTo>
                    <a:lnTo>
                      <a:pt x="641" y="0"/>
                    </a:lnTo>
                    <a:lnTo>
                      <a:pt x="0" y="640"/>
                    </a:lnTo>
                    <a:lnTo>
                      <a:pt x="0" y="641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3" name="Freeform 21">
                <a:extLst>
                  <a:ext uri="{FF2B5EF4-FFF2-40B4-BE49-F238E27FC236}">
                    <a16:creationId xmlns:a16="http://schemas.microsoft.com/office/drawing/2014/main" id="{AFBE13BE-D934-E332-D903-7AA82F1CF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4115"/>
              </a:xfrm>
              <a:custGeom>
                <a:avLst/>
                <a:gdLst>
                  <a:gd name="T0" fmla="*/ 641 w 641"/>
                  <a:gd name="T1" fmla="*/ 0 h 640"/>
                  <a:gd name="T2" fmla="*/ 540 w 641"/>
                  <a:gd name="T3" fmla="*/ 0 h 640"/>
                  <a:gd name="T4" fmla="*/ 0 w 641"/>
                  <a:gd name="T5" fmla="*/ 640 h 640"/>
                  <a:gd name="T6" fmla="*/ 641 w 641"/>
                  <a:gd name="T7" fmla="*/ 0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1" h="640">
                    <a:moveTo>
                      <a:pt x="641" y="0"/>
                    </a:moveTo>
                    <a:lnTo>
                      <a:pt x="540" y="0"/>
                    </a:lnTo>
                    <a:lnTo>
                      <a:pt x="0" y="640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4" name="Rectangle 22">
                <a:extLst>
                  <a:ext uri="{FF2B5EF4-FFF2-40B4-BE49-F238E27FC236}">
                    <a16:creationId xmlns:a16="http://schemas.microsoft.com/office/drawing/2014/main" id="{37A577C6-770E-ACB4-9818-D4027E2B27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1274" y="8455296"/>
                <a:ext cx="3382" cy="338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5" name="Freeform 23">
                <a:extLst>
                  <a:ext uri="{FF2B5EF4-FFF2-40B4-BE49-F238E27FC236}">
                    <a16:creationId xmlns:a16="http://schemas.microsoft.com/office/drawing/2014/main" id="{5917E971-9955-FD38-72EC-0F72C31A25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1274" y="845529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1EAD0096-D0B1-9237-A11D-0F4F6BE30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3776" y="6287800"/>
                <a:ext cx="2167498" cy="2167498"/>
              </a:xfrm>
              <a:custGeom>
                <a:avLst/>
                <a:gdLst>
                  <a:gd name="T0" fmla="*/ 100 w 641"/>
                  <a:gd name="T1" fmla="*/ 0 h 641"/>
                  <a:gd name="T2" fmla="*/ 0 w 641"/>
                  <a:gd name="T3" fmla="*/ 0 h 641"/>
                  <a:gd name="T4" fmla="*/ 641 w 641"/>
                  <a:gd name="T5" fmla="*/ 641 h 641"/>
                  <a:gd name="T6" fmla="*/ 641 w 641"/>
                  <a:gd name="T7" fmla="*/ 641 h 641"/>
                  <a:gd name="T8" fmla="*/ 100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100" y="0"/>
                    </a:moveTo>
                    <a:lnTo>
                      <a:pt x="0" y="0"/>
                    </a:lnTo>
                    <a:lnTo>
                      <a:pt x="641" y="641"/>
                    </a:lnTo>
                    <a:lnTo>
                      <a:pt x="641" y="641"/>
                    </a:lnTo>
                    <a:lnTo>
                      <a:pt x="10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46816948-739A-6ED7-52ED-7758FD9C8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3981665"/>
                <a:ext cx="2170878" cy="2167498"/>
              </a:xfrm>
              <a:custGeom>
                <a:avLst/>
                <a:gdLst>
                  <a:gd name="T0" fmla="*/ 642 w 642"/>
                  <a:gd name="T1" fmla="*/ 0 h 641"/>
                  <a:gd name="T2" fmla="*/ 640 w 642"/>
                  <a:gd name="T3" fmla="*/ 2 h 641"/>
                  <a:gd name="T4" fmla="*/ 0 w 642"/>
                  <a:gd name="T5" fmla="*/ 641 h 641"/>
                  <a:gd name="T6" fmla="*/ 0 w 642"/>
                  <a:gd name="T7" fmla="*/ 641 h 641"/>
                  <a:gd name="T8" fmla="*/ 642 w 642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1">
                    <a:moveTo>
                      <a:pt x="642" y="0"/>
                    </a:moveTo>
                    <a:lnTo>
                      <a:pt x="640" y="2"/>
                    </a:lnTo>
                    <a:lnTo>
                      <a:pt x="0" y="641"/>
                    </a:lnTo>
                    <a:lnTo>
                      <a:pt x="0" y="641"/>
                    </a:lnTo>
                    <a:lnTo>
                      <a:pt x="64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8" name="Rectangle 30">
                <a:extLst>
                  <a:ext uri="{FF2B5EF4-FFF2-40B4-BE49-F238E27FC236}">
                    <a16:creationId xmlns:a16="http://schemas.microsoft.com/office/drawing/2014/main" id="{653905DC-1AD7-D85E-6EFD-502B47284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31756" y="6423058"/>
                <a:ext cx="3382" cy="6763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9" name="Freeform 31">
                <a:extLst>
                  <a:ext uri="{FF2B5EF4-FFF2-40B4-BE49-F238E27FC236}">
                    <a16:creationId xmlns:a16="http://schemas.microsoft.com/office/drawing/2014/main" id="{594D4164-70EF-634D-E9E3-F3B7BE29C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423058"/>
                <a:ext cx="0" cy="6763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0" name="Freeform 33">
                <a:extLst>
                  <a:ext uri="{FF2B5EF4-FFF2-40B4-BE49-F238E27FC236}">
                    <a16:creationId xmlns:a16="http://schemas.microsoft.com/office/drawing/2014/main" id="{A0E9CE9C-0098-5651-58B7-088E729D5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4260" y="6429820"/>
                <a:ext cx="2167498" cy="2164115"/>
              </a:xfrm>
              <a:custGeom>
                <a:avLst/>
                <a:gdLst>
                  <a:gd name="T0" fmla="*/ 641 w 641"/>
                  <a:gd name="T1" fmla="*/ 0 h 640"/>
                  <a:gd name="T2" fmla="*/ 0 w 641"/>
                  <a:gd name="T3" fmla="*/ 640 h 640"/>
                  <a:gd name="T4" fmla="*/ 641 w 641"/>
                  <a:gd name="T5" fmla="*/ 100 h 640"/>
                  <a:gd name="T6" fmla="*/ 641 w 641"/>
                  <a:gd name="T7" fmla="*/ 0 h 640"/>
                  <a:gd name="T8" fmla="*/ 641 w 641"/>
                  <a:gd name="T9" fmla="*/ 0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0">
                    <a:moveTo>
                      <a:pt x="641" y="0"/>
                    </a:moveTo>
                    <a:lnTo>
                      <a:pt x="0" y="640"/>
                    </a:lnTo>
                    <a:lnTo>
                      <a:pt x="641" y="100"/>
                    </a:lnTo>
                    <a:lnTo>
                      <a:pt x="641" y="0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1" name="Freeform 35">
                <a:extLst>
                  <a:ext uri="{FF2B5EF4-FFF2-40B4-BE49-F238E27FC236}">
                    <a16:creationId xmlns:a16="http://schemas.microsoft.com/office/drawing/2014/main" id="{2E820E52-0753-3A35-216E-71D024E18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4120302"/>
                <a:ext cx="2167498" cy="2167498"/>
              </a:xfrm>
              <a:custGeom>
                <a:avLst/>
                <a:gdLst>
                  <a:gd name="T0" fmla="*/ 0 w 641"/>
                  <a:gd name="T1" fmla="*/ 0 h 641"/>
                  <a:gd name="T2" fmla="*/ 0 w 641"/>
                  <a:gd name="T3" fmla="*/ 2 h 641"/>
                  <a:gd name="T4" fmla="*/ 641 w 641"/>
                  <a:gd name="T5" fmla="*/ 641 h 641"/>
                  <a:gd name="T6" fmla="*/ 641 w 641"/>
                  <a:gd name="T7" fmla="*/ 641 h 641"/>
                  <a:gd name="T8" fmla="*/ 0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0" y="0"/>
                    </a:moveTo>
                    <a:lnTo>
                      <a:pt x="0" y="2"/>
                    </a:lnTo>
                    <a:lnTo>
                      <a:pt x="641" y="641"/>
                    </a:lnTo>
                    <a:lnTo>
                      <a:pt x="641" y="64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2" name="Rectangle 38">
                <a:extLst>
                  <a:ext uri="{FF2B5EF4-FFF2-40B4-BE49-F238E27FC236}">
                    <a16:creationId xmlns:a16="http://schemas.microsoft.com/office/drawing/2014/main" id="{0A2395B7-EEE7-4DF1-2E8F-42AFB40747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1274" y="4120302"/>
                <a:ext cx="3382" cy="3382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3" name="Freeform 39">
                <a:extLst>
                  <a:ext uri="{FF2B5EF4-FFF2-40B4-BE49-F238E27FC236}">
                    <a16:creationId xmlns:a16="http://schemas.microsoft.com/office/drawing/2014/main" id="{4E25D5E3-4C23-EF65-80CC-DF7A4D55C8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1274" y="412030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5B7FBBE-D35A-9FF4-66D8-390DD8C7B523}"/>
                  </a:ext>
                </a:extLst>
              </p:cNvPr>
              <p:cNvGrpSpPr/>
              <p:nvPr/>
            </p:nvGrpSpPr>
            <p:grpSpPr>
              <a:xfrm>
                <a:off x="7564264" y="3112635"/>
                <a:ext cx="4338376" cy="3023001"/>
                <a:chOff x="3551239" y="1463675"/>
                <a:chExt cx="2036763" cy="1419226"/>
              </a:xfrm>
            </p:grpSpPr>
            <p:sp>
              <p:nvSpPr>
                <p:cNvPr id="47" name="Freeform 6">
                  <a:extLst>
                    <a:ext uri="{FF2B5EF4-FFF2-40B4-BE49-F238E27FC236}">
                      <a16:creationId xmlns:a16="http://schemas.microsoft.com/office/drawing/2014/main" id="{F2211236-100D-02D9-E94F-AB1CFB86AB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1239" y="1463675"/>
                  <a:ext cx="2036763" cy="1419225"/>
                </a:xfrm>
                <a:custGeom>
                  <a:avLst/>
                  <a:gdLst>
                    <a:gd name="T0" fmla="*/ 485 w 971"/>
                    <a:gd name="T1" fmla="*/ 0 h 677"/>
                    <a:gd name="T2" fmla="*/ 0 w 971"/>
                    <a:gd name="T3" fmla="*/ 192 h 677"/>
                    <a:gd name="T4" fmla="*/ 485 w 971"/>
                    <a:gd name="T5" fmla="*/ 677 h 677"/>
                    <a:gd name="T6" fmla="*/ 971 w 971"/>
                    <a:gd name="T7" fmla="*/ 192 h 677"/>
                    <a:gd name="T8" fmla="*/ 485 w 971"/>
                    <a:gd name="T9" fmla="*/ 0 h 6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71" h="677">
                      <a:moveTo>
                        <a:pt x="485" y="0"/>
                      </a:moveTo>
                      <a:cubicBezTo>
                        <a:pt x="298" y="0"/>
                        <a:pt x="127" y="73"/>
                        <a:pt x="0" y="192"/>
                      </a:cubicBezTo>
                      <a:cubicBezTo>
                        <a:pt x="485" y="677"/>
                        <a:pt x="485" y="677"/>
                        <a:pt x="485" y="677"/>
                      </a:cubicBezTo>
                      <a:cubicBezTo>
                        <a:pt x="971" y="192"/>
                        <a:pt x="971" y="192"/>
                        <a:pt x="971" y="192"/>
                      </a:cubicBezTo>
                      <a:cubicBezTo>
                        <a:pt x="844" y="73"/>
                        <a:pt x="673" y="0"/>
                        <a:pt x="485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194770" tIns="97385" rIns="194770" bIns="9738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3600" dirty="0"/>
                </a:p>
              </p:txBody>
            </p:sp>
            <p:sp>
              <p:nvSpPr>
                <p:cNvPr id="49" name="Freeform 29">
                  <a:extLst>
                    <a:ext uri="{FF2B5EF4-FFF2-40B4-BE49-F238E27FC236}">
                      <a16:creationId xmlns:a16="http://schemas.microsoft.com/office/drawing/2014/main" id="{86BF70DF-FD9E-8188-2DD7-C0CCE2B7B3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68825" y="1868488"/>
                  <a:ext cx="1016000" cy="1014413"/>
                </a:xfrm>
                <a:custGeom>
                  <a:avLst/>
                  <a:gdLst>
                    <a:gd name="T0" fmla="*/ 640 w 640"/>
                    <a:gd name="T1" fmla="*/ 0 h 639"/>
                    <a:gd name="T2" fmla="*/ 0 w 640"/>
                    <a:gd name="T3" fmla="*/ 538 h 639"/>
                    <a:gd name="T4" fmla="*/ 0 w 640"/>
                    <a:gd name="T5" fmla="*/ 639 h 639"/>
                    <a:gd name="T6" fmla="*/ 640 w 640"/>
                    <a:gd name="T7" fmla="*/ 0 h 6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0" h="639">
                      <a:moveTo>
                        <a:pt x="640" y="0"/>
                      </a:moveTo>
                      <a:lnTo>
                        <a:pt x="0" y="538"/>
                      </a:lnTo>
                      <a:lnTo>
                        <a:pt x="0" y="639"/>
                      </a:lnTo>
                      <a:lnTo>
                        <a:pt x="640" y="0"/>
                      </a:lnTo>
                    </a:path>
                  </a:pathLst>
                </a:custGeom>
                <a:solidFill>
                  <a:schemeClr val="tx1">
                    <a:alpha val="40000"/>
                  </a:schemeClr>
                </a:solidFill>
                <a:ln>
                  <a:noFill/>
                </a:ln>
              </p:spPr>
              <p:txBody>
                <a:bodyPr vert="horz" wrap="square" lIns="194770" tIns="97385" rIns="194770" bIns="9738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3600" dirty="0"/>
                </a:p>
              </p:txBody>
            </p:sp>
          </p:grpSp>
          <p:sp>
            <p:nvSpPr>
              <p:cNvPr id="44" name="Freeform 7">
                <a:extLst>
                  <a:ext uri="{FF2B5EF4-FFF2-40B4-BE49-F238E27FC236}">
                    <a16:creationId xmlns:a16="http://schemas.microsoft.com/office/drawing/2014/main" id="{4E215EB9-DABE-98D0-EB4A-7C52001DDA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4261" y="6423057"/>
                <a:ext cx="4338375" cy="3026382"/>
              </a:xfrm>
              <a:custGeom>
                <a:avLst/>
                <a:gdLst>
                  <a:gd name="T0" fmla="*/ 485 w 971"/>
                  <a:gd name="T1" fmla="*/ 0 h 678"/>
                  <a:gd name="T2" fmla="*/ 0 w 971"/>
                  <a:gd name="T3" fmla="*/ 486 h 678"/>
                  <a:gd name="T4" fmla="*/ 485 w 971"/>
                  <a:gd name="T5" fmla="*/ 678 h 678"/>
                  <a:gd name="T6" fmla="*/ 971 w 971"/>
                  <a:gd name="T7" fmla="*/ 486 h 678"/>
                  <a:gd name="T8" fmla="*/ 485 w 971"/>
                  <a:gd name="T9" fmla="*/ 0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1" h="678">
                    <a:moveTo>
                      <a:pt x="485" y="0"/>
                    </a:moveTo>
                    <a:cubicBezTo>
                      <a:pt x="0" y="486"/>
                      <a:pt x="0" y="486"/>
                      <a:pt x="0" y="486"/>
                    </a:cubicBezTo>
                    <a:cubicBezTo>
                      <a:pt x="127" y="605"/>
                      <a:pt x="298" y="678"/>
                      <a:pt x="485" y="678"/>
                    </a:cubicBezTo>
                    <a:cubicBezTo>
                      <a:pt x="673" y="678"/>
                      <a:pt x="844" y="605"/>
                      <a:pt x="971" y="486"/>
                    </a:cubicBezTo>
                    <a:cubicBezTo>
                      <a:pt x="485" y="0"/>
                      <a:pt x="485" y="0"/>
                      <a:pt x="485" y="0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 dirty="0"/>
              </a:p>
            </p:txBody>
          </p:sp>
          <p:sp>
            <p:nvSpPr>
              <p:cNvPr id="41" name="Freeform 8">
                <a:extLst>
                  <a:ext uri="{FF2B5EF4-FFF2-40B4-BE49-F238E27FC236}">
                    <a16:creationId xmlns:a16="http://schemas.microsoft.com/office/drawing/2014/main" id="{8D82D36D-729E-70EA-533B-6554A5D32E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3213" y="4120303"/>
                <a:ext cx="3022998" cy="4334993"/>
              </a:xfrm>
              <a:custGeom>
                <a:avLst/>
                <a:gdLst>
                  <a:gd name="T0" fmla="*/ 192 w 677"/>
                  <a:gd name="T1" fmla="*/ 0 h 971"/>
                  <a:gd name="T2" fmla="*/ 0 w 677"/>
                  <a:gd name="T3" fmla="*/ 485 h 971"/>
                  <a:gd name="T4" fmla="*/ 192 w 677"/>
                  <a:gd name="T5" fmla="*/ 971 h 971"/>
                  <a:gd name="T6" fmla="*/ 677 w 677"/>
                  <a:gd name="T7" fmla="*/ 485 h 971"/>
                  <a:gd name="T8" fmla="*/ 192 w 677"/>
                  <a:gd name="T9" fmla="*/ 0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7" h="971">
                    <a:moveTo>
                      <a:pt x="192" y="0"/>
                    </a:moveTo>
                    <a:cubicBezTo>
                      <a:pt x="73" y="127"/>
                      <a:pt x="0" y="298"/>
                      <a:pt x="0" y="485"/>
                    </a:cubicBezTo>
                    <a:cubicBezTo>
                      <a:pt x="0" y="673"/>
                      <a:pt x="73" y="844"/>
                      <a:pt x="192" y="971"/>
                    </a:cubicBezTo>
                    <a:cubicBezTo>
                      <a:pt x="677" y="485"/>
                      <a:pt x="677" y="485"/>
                      <a:pt x="677" y="485"/>
                    </a:cubicBezTo>
                    <a:cubicBezTo>
                      <a:pt x="192" y="0"/>
                      <a:pt x="192" y="0"/>
                      <a:pt x="192" y="0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 dirty="0"/>
              </a:p>
            </p:txBody>
          </p:sp>
          <p:sp>
            <p:nvSpPr>
              <p:cNvPr id="38" name="Freeform 9">
                <a:extLst>
                  <a:ext uri="{FF2B5EF4-FFF2-40B4-BE49-F238E27FC236}">
                    <a16:creationId xmlns:a16="http://schemas.microsoft.com/office/drawing/2014/main" id="{01367AF1-BACA-5EF8-A09E-22DFDDE981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3778" y="4120302"/>
                <a:ext cx="3022998" cy="4334994"/>
              </a:xfrm>
              <a:custGeom>
                <a:avLst/>
                <a:gdLst>
                  <a:gd name="T0" fmla="*/ 485 w 677"/>
                  <a:gd name="T1" fmla="*/ 0 h 971"/>
                  <a:gd name="T2" fmla="*/ 0 w 677"/>
                  <a:gd name="T3" fmla="*/ 485 h 971"/>
                  <a:gd name="T4" fmla="*/ 485 w 677"/>
                  <a:gd name="T5" fmla="*/ 971 h 971"/>
                  <a:gd name="T6" fmla="*/ 677 w 677"/>
                  <a:gd name="T7" fmla="*/ 485 h 971"/>
                  <a:gd name="T8" fmla="*/ 485 w 677"/>
                  <a:gd name="T9" fmla="*/ 0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7" h="971">
                    <a:moveTo>
                      <a:pt x="485" y="0"/>
                    </a:moveTo>
                    <a:cubicBezTo>
                      <a:pt x="0" y="485"/>
                      <a:pt x="0" y="485"/>
                      <a:pt x="0" y="485"/>
                    </a:cubicBezTo>
                    <a:cubicBezTo>
                      <a:pt x="485" y="971"/>
                      <a:pt x="485" y="971"/>
                      <a:pt x="485" y="971"/>
                    </a:cubicBezTo>
                    <a:cubicBezTo>
                      <a:pt x="604" y="844"/>
                      <a:pt x="677" y="673"/>
                      <a:pt x="677" y="485"/>
                    </a:cubicBezTo>
                    <a:cubicBezTo>
                      <a:pt x="677" y="298"/>
                      <a:pt x="604" y="127"/>
                      <a:pt x="485" y="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 dirty="0"/>
              </a:p>
            </p:txBody>
          </p: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BD81A31-241A-8B96-F4F1-2ACC96B2A1D7}"/>
                </a:ext>
              </a:extLst>
            </p:cNvPr>
            <p:cNvSpPr/>
            <p:nvPr/>
          </p:nvSpPr>
          <p:spPr>
            <a:xfrm>
              <a:off x="8881753" y="3692386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3E35971-85A3-8F6F-6472-116930C877EF}"/>
                </a:ext>
              </a:extLst>
            </p:cNvPr>
            <p:cNvSpPr/>
            <p:nvPr/>
          </p:nvSpPr>
          <p:spPr>
            <a:xfrm>
              <a:off x="10762697" y="5506037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2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F30117D-41EC-DB47-9B23-F1A2D1884B34}"/>
                </a:ext>
              </a:extLst>
            </p:cNvPr>
            <p:cNvSpPr/>
            <p:nvPr/>
          </p:nvSpPr>
          <p:spPr>
            <a:xfrm>
              <a:off x="8881753" y="7472809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3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C9465E4-2808-106E-F949-19E7A44BD5BD}"/>
                </a:ext>
              </a:extLst>
            </p:cNvPr>
            <p:cNvSpPr/>
            <p:nvPr/>
          </p:nvSpPr>
          <p:spPr>
            <a:xfrm>
              <a:off x="6934537" y="5506037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5A558F6-C118-2929-6C4E-5FDAD9A8EB02}"/>
              </a:ext>
            </a:extLst>
          </p:cNvPr>
          <p:cNvSpPr txBox="1"/>
          <p:nvPr/>
        </p:nvSpPr>
        <p:spPr>
          <a:xfrm>
            <a:off x="4330554" y="941325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DCD225-A033-60F3-DFB1-DB2118059923}"/>
              </a:ext>
            </a:extLst>
          </p:cNvPr>
          <p:cNvSpPr txBox="1"/>
          <p:nvPr/>
        </p:nvSpPr>
        <p:spPr>
          <a:xfrm>
            <a:off x="8088303" y="3188892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20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538C05-6492-9203-608F-0F3314AD777C}"/>
              </a:ext>
            </a:extLst>
          </p:cNvPr>
          <p:cNvSpPr txBox="1"/>
          <p:nvPr/>
        </p:nvSpPr>
        <p:spPr>
          <a:xfrm>
            <a:off x="862666" y="3188892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20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FCFA34-7E45-BF4D-9407-71214CE646F2}"/>
              </a:ext>
            </a:extLst>
          </p:cNvPr>
          <p:cNvSpPr txBox="1"/>
          <p:nvPr/>
        </p:nvSpPr>
        <p:spPr>
          <a:xfrm>
            <a:off x="4474202" y="5591630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467767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5</TotalTime>
  <Words>91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Open Sans Light</vt:lpstr>
      <vt:lpstr>Robot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01</cp:revision>
  <dcterms:created xsi:type="dcterms:W3CDTF">2021-03-31T02:49:57Z</dcterms:created>
  <dcterms:modified xsi:type="dcterms:W3CDTF">2025-10-16T10:56:38Z</dcterms:modified>
  <cp:category/>
</cp:coreProperties>
</file>